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4"/>
  </p:notesMasterIdLst>
  <p:sldIdLst>
    <p:sldId id="307" r:id="rId2"/>
    <p:sldId id="308" r:id="rId3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02" autoAdjust="0"/>
    <p:restoredTop sz="95910" autoAdjust="0"/>
  </p:normalViewPr>
  <p:slideViewPr>
    <p:cSldViewPr snapToGrid="0">
      <p:cViewPr>
        <p:scale>
          <a:sx n="150" d="100"/>
          <a:sy n="150" d="100"/>
        </p:scale>
        <p:origin x="-13086" y="-4164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651276-3E1D-8A1E-EA69-9668F9010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911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05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47017" y="4349818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798782" y="8992374"/>
            <a:ext cx="1609724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CurrentAlarms</a:t>
            </a:r>
            <a:endParaRPr lang="de-DE" sz="1200" dirty="0">
              <a:solidFill>
                <a:schemeClr val="tx1"/>
              </a:solidFill>
            </a:endParaRPr>
          </a:p>
          <a:p>
            <a:pPr algn="ctr"/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ToDo</a:t>
            </a:r>
            <a:r>
              <a:rPr lang="de-DE" sz="1200" dirty="0">
                <a:solidFill>
                  <a:schemeClr val="tx1"/>
                </a:solidFill>
              </a:rPr>
              <a:t>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6019666" y="591233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36000" algn="l"/>
              </a:tabLst>
            </a:pPr>
            <a:r>
              <a:rPr lang="de-DE" sz="800" dirty="0" err="1"/>
              <a:t>Pulser</a:t>
            </a:r>
            <a:endParaRPr lang="de-DE" sz="800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0800" y="5976759"/>
            <a:ext cx="166165" cy="174914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FCAAE95E-A7A7-A0FC-1886-4ED60D60F2F6}"/>
              </a:ext>
            </a:extLst>
          </p:cNvPr>
          <p:cNvSpPr/>
          <p:nvPr/>
        </p:nvSpPr>
        <p:spPr>
          <a:xfrm>
            <a:off x="18501471" y="73613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312AD2-6C08-50FB-1002-E2B5DAE4DCBA}"/>
              </a:ext>
            </a:extLst>
          </p:cNvPr>
          <p:cNvSpPr/>
          <p:nvPr/>
        </p:nvSpPr>
        <p:spPr>
          <a:xfrm>
            <a:off x="16206785" y="711422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0A39782-9C33-AAEB-8DDB-720A16217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116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/>
              <p:nvPr/>
            </p:nvSpPr>
            <p:spPr>
              <a:xfrm>
                <a:off x="14184209" y="7505617"/>
                <a:ext cx="8036752" cy="1976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pt-BR" sz="1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date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of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next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attempt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to</m:t>
                              </m:r>
                              <m:r>
                                <a:rPr lang="pt-BR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pt-BR" sz="1200">
                                  <a:latin typeface="Cambria Math" panose="02040503050406030204" pitchFamily="18" charset="0"/>
                                </a:rPr>
                                <m:t>fix</m:t>
                              </m:r>
                            </m:e>
                          </m:d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max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([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date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of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attempt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]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de-DE" sz="12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min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( [</m:t>
                          </m:r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m:rPr>
                              <m:sty m:val="p"/>
                            </m:rPr>
                            <a:rPr lang="de-DE" sz="1200" baseline="-25000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m:rPr>
                              <m:sty m:val="p"/>
                            </m:rPr>
                            <a:rPr lang="de-DE" sz="1200" b="0" i="0" baseline="-25000" smtClean="0">
                              <a:latin typeface="Cambria Math" panose="02040503050406030204" pitchFamily="18" charset="0"/>
                            </a:rPr>
                            <m:t>in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]</m:t>
                          </m:r>
                          <m:r>
                            <a:rPr lang="de-DE" sz="1200">
                              <a:latin typeface="Cambria Math" panose="02040503050406030204" pitchFamily="18" charset="0"/>
                            </a:rPr>
                            <m:t>∗2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latin typeface="Cambria Math" panose="02040503050406030204" pitchFamily="18" charset="0"/>
                            </a:rPr>
                            <m:t>count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past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attempts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to</m:t>
                              </m:r>
                              <m:r>
                                <a:rPr lang="de-DE" sz="12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1200">
                                  <a:latin typeface="Cambria Math" panose="02040503050406030204" pitchFamily="18" charset="0"/>
                                </a:rPr>
                                <m:t>fix</m:t>
                              </m:r>
                            </m:e>
                          </m:d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de-DE" sz="12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p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;</m:t>
                      </m:r>
                      <m:d>
                        <m:dPr>
                          <m:begChr m:val="["/>
                          <m:endChr m:val="]"/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m:rPr>
                              <m:sty m:val="p"/>
                            </m:rPr>
                            <a:rPr lang="de-DE" sz="1200" b="0" i="0" baseline="-25000" smtClean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</m:d>
                      <m:r>
                        <a:rPr lang="de-DE" sz="1200" b="0" i="0" baseline="-2500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2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200" dirty="0">
                  <a:cs typeface="Aldhabi" panose="020F0502020204030204" pitchFamily="2" charset="-78"/>
                </a:endParaRPr>
              </a:p>
            </p:txBody>
          </p:sp>
        </mc:Choice>
        <mc:Fallback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8D08FAB6-C530-9B77-15B5-232C13701B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84209" y="7505617"/>
                <a:ext cx="8036752" cy="197683"/>
              </a:xfrm>
              <a:prstGeom prst="rect">
                <a:avLst/>
              </a:prstGeom>
              <a:blipFill>
                <a:blip r:embed="rId5"/>
                <a:stretch>
                  <a:fillRect t="-6061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75314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</Words>
  <Application>Microsoft Office PowerPoint</Application>
  <PresentationFormat>Benutzerdefiniert</PresentationFormat>
  <Paragraphs>1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ldhabi</vt:lpstr>
      <vt:lpstr>Aptos</vt:lpstr>
      <vt:lpstr>Aptos Display</vt:lpstr>
      <vt:lpstr>Arial</vt:lpstr>
      <vt:lpstr>Cambria Math</vt:lpstr>
      <vt:lpstr>Office</vt:lpstr>
      <vt:lpstr>think-cell Folie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40</cp:revision>
  <dcterms:created xsi:type="dcterms:W3CDTF">2025-01-24T13:53:29Z</dcterms:created>
  <dcterms:modified xsi:type="dcterms:W3CDTF">2025-08-05T13:53:57Z</dcterms:modified>
</cp:coreProperties>
</file>